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0" autoAdjust="0"/>
    <p:restoredTop sz="94660"/>
  </p:normalViewPr>
  <p:slideViewPr>
    <p:cSldViewPr snapToGrid="0">
      <p:cViewPr>
        <p:scale>
          <a:sx n="150" d="100"/>
          <a:sy n="150" d="100"/>
        </p:scale>
        <p:origin x="31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E2BEA-59F9-8C83-8EC9-B1EE171FCC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799EA2-DD82-19A2-E3FF-2BE574B4A9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1CA4D6-1FCC-CEB2-4D1B-222AC2D9D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0E6AB5-0EF6-28A9-33D1-1AF8062FB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0CA7D2-0D5A-8469-CA7B-8B7CC2CDE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792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7585C-ABE4-68A8-C50C-C9D36E5D8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C1324D-B1D0-1404-60FD-CACE4119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ACE29-0884-0CE3-1ED6-535FAF6D1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046811-B16A-3266-B9CF-B1A82D8B9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74EE2-DF25-9900-573D-94199E004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622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E356BE-FA2F-D6DD-E8B7-876ED6A5BE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8E0457-CD0E-6220-61F2-47B5EB0EFE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DE7946-0DAC-7DDC-3064-548FC0016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CCA73C-AC8D-1E65-404D-C0F38EDBF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BF6F5B-0F4E-5AE8-8DE6-9BD73982C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8371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0B481-7941-6FF0-1106-FB1D23885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E9A56C-566C-3113-ABA3-8CA9647D8E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112A5-FFC1-E4E6-C7CD-3234BE45C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30383-35EF-A432-AE73-62EE648A6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EC2392-91A1-6C22-9C63-F95C552392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9888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9E1E9-28EB-6E3C-3926-7411E6AE0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5DFEB-F5A0-400C-2ADE-A2BB85008D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68FF4-277C-2ADB-E844-11D4AECC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3C6175-1A2D-D668-291C-345692D62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9E106E-93CF-4C4D-4DB1-B5D794830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427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6F9FA-CE92-6341-4B53-D7197DE08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B6EE1E-FF41-C0F1-2236-467CA76A62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5AB6C4-88F2-0667-1856-031B4E291C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013C63-6A04-3FBE-FD67-DA3E2B6EB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A122A8-F747-F2B8-121E-6C9713723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5736CA-3D72-1893-5FC0-22ACEDB34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2590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7B51A-6B15-6205-ADEC-4AEC93257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19C03B-95A2-1456-57DD-C691F73FA7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83DBFE-E616-0C7B-86BD-D5D09D2941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9CD4E-3A96-1473-DBB7-90FBDBE45A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9A4A12-FC02-CB2D-4060-C30457886D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5816B3-4EFC-637E-7436-11FB4DD62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A8FB1F-FB40-6F78-0E92-059EA7772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E30BFB-F242-E14D-6A80-034F9A31B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0253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32677-B26A-5BE9-553B-BFA2FB750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63981F-36DF-0AE4-A441-2B483CE7B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18F97-F150-4E6C-4B5B-6E8B84590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6F8EA0-B8A1-89CC-5FA3-2E278A68D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5523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7E34B-4E32-FDF2-971D-D70B09B8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C80BA7-529A-4E4F-7AD0-0D2F5CF89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06590C-A0D7-3197-F653-C69B3E200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1892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FCA75-2345-3407-8F50-C4AD9E025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4036B9-160A-E18D-019A-183E1474FA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2B9D90-681A-2BAC-2AE1-B539F0A306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68504A-3849-B961-90B8-42E7D60A1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74CD45-1F15-D3C2-008A-505B1076D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9E90BB-B1BF-07F6-0AC1-8EDADFC12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0893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C4F28-097D-9E99-F102-DB8DB9B66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9B76B2-51DC-9C15-8D04-866E912E7F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714865-C96F-B424-4EC2-4B23E0ACE3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9957D6-90D9-7DD8-AA83-831FFF198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7F08A8-A40C-6F5B-B250-5F7CA3F17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174BC8-24D0-EB7A-734C-6BBB3629A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3908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7BFF5B-F212-8D5D-0695-D39568E97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4056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0" imgH="380" progId="TCLayout.ActiveDocument.1">
                  <p:embed/>
                </p:oleObj>
              </mc:Choice>
              <mc:Fallback>
                <p:oleObj name="think-cell Slide" r:id="rId14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AE5F98-3150-2AC1-F6F7-E2A70ACED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BC22C-72BD-E73F-3100-618A70CF9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4CF3F-E5F0-E360-1B08-A3F1A73624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7D3BB-03F0-482C-9432-368A42D3C827}" type="datetimeFigureOut">
              <a:rPr lang="de-DE" smtClean="0"/>
              <a:t>14.01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FFA360-0E3E-1EBA-57DE-CF7D9363EF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430CB0-6A44-3AC2-ABAC-071784526D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9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28561C-E173-784D-C62A-639B46C2C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7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0" imgH="380" progId="TCLayout.ActiveDocument.1">
                  <p:embed/>
                </p:oleObj>
              </mc:Choice>
              <mc:Fallback>
                <p:oleObj name="think-cell Slide" r:id="rId3" imgW="380" imgH="3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82CB452D-CB1D-2866-4F1D-670AE21AE0DF}"/>
              </a:ext>
            </a:extLst>
          </p:cNvPr>
          <p:cNvSpPr/>
          <p:nvPr/>
        </p:nvSpPr>
        <p:spPr>
          <a:xfrm>
            <a:off x="3773617" y="1728009"/>
            <a:ext cx="3575101" cy="134729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100" dirty="0"/>
              <a:t>Docker Image</a:t>
            </a:r>
          </a:p>
          <a:p>
            <a:pPr algn="ctr"/>
            <a:endParaRPr lang="de-DE" sz="1100" dirty="0"/>
          </a:p>
          <a:p>
            <a:pPr algn="ctr"/>
            <a:endParaRPr lang="de-DE" sz="1100" dirty="0"/>
          </a:p>
          <a:p>
            <a:pPr algn="ctr"/>
            <a:endParaRPr lang="de-DE" sz="1100" dirty="0"/>
          </a:p>
          <a:p>
            <a:pPr algn="ctr"/>
            <a:endParaRPr lang="de-DE" sz="1100" dirty="0"/>
          </a:p>
          <a:p>
            <a:pPr algn="ctr"/>
            <a:endParaRPr lang="de-DE" sz="1100" dirty="0"/>
          </a:p>
          <a:p>
            <a:pPr algn="ctr"/>
            <a:endParaRPr lang="de-DE" sz="1100" dirty="0"/>
          </a:p>
          <a:p>
            <a:pPr algn="ctr"/>
            <a:endParaRPr lang="de-DE" sz="11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62A49E-57C8-A561-8187-E8226DAF09F0}"/>
              </a:ext>
            </a:extLst>
          </p:cNvPr>
          <p:cNvSpPr/>
          <p:nvPr/>
        </p:nvSpPr>
        <p:spPr>
          <a:xfrm>
            <a:off x="5867049" y="191529"/>
            <a:ext cx="1340221" cy="9406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/>
              <a:t>Huggingface</a:t>
            </a:r>
            <a:endParaRPr lang="de-DE" sz="11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17B453-0A14-B189-1DF9-462D9D7DEB85}"/>
              </a:ext>
            </a:extLst>
          </p:cNvPr>
          <p:cNvSpPr/>
          <p:nvPr/>
        </p:nvSpPr>
        <p:spPr>
          <a:xfrm>
            <a:off x="5867049" y="1979080"/>
            <a:ext cx="1340221" cy="9406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(</a:t>
            </a:r>
            <a:r>
              <a:rPr lang="de-DE" sz="1100" dirty="0" err="1"/>
              <a:t>Tensorflow</a:t>
            </a:r>
            <a:r>
              <a:rPr lang="de-DE" sz="1100" dirty="0"/>
              <a:t>)</a:t>
            </a:r>
          </a:p>
          <a:p>
            <a:pPr algn="ctr"/>
            <a:r>
              <a:rPr lang="de-DE" sz="1100" dirty="0"/>
              <a:t>Model Serv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C65BB2-A706-980A-47C4-A528BACE5044}"/>
              </a:ext>
            </a:extLst>
          </p:cNvPr>
          <p:cNvSpPr/>
          <p:nvPr/>
        </p:nvSpPr>
        <p:spPr>
          <a:xfrm>
            <a:off x="3893258" y="1979080"/>
            <a:ext cx="1340221" cy="94063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/>
              <a:t>Gradio</a:t>
            </a:r>
            <a:r>
              <a:rPr lang="de-DE" sz="1100" dirty="0"/>
              <a:t> App</a:t>
            </a:r>
          </a:p>
          <a:p>
            <a:pPr algn="ctr"/>
            <a:r>
              <a:rPr lang="de-DE" sz="1100" dirty="0"/>
              <a:t>(Input: Text, Pic;</a:t>
            </a:r>
            <a:br>
              <a:rPr lang="de-DE" sz="1100" dirty="0"/>
            </a:br>
            <a:r>
              <a:rPr lang="de-DE" sz="1100" dirty="0"/>
              <a:t>Output: Word </a:t>
            </a:r>
            <a:r>
              <a:rPr lang="de-DE" sz="1100" dirty="0" err="1"/>
              <a:t>cloud</a:t>
            </a:r>
            <a:r>
              <a:rPr lang="de-DE" sz="1100" dirty="0"/>
              <a:t>, </a:t>
            </a:r>
            <a:r>
              <a:rPr lang="de-DE" sz="1100" dirty="0" err="1"/>
              <a:t>statistics</a:t>
            </a:r>
            <a:r>
              <a:rPr lang="de-DE" sz="1100" dirty="0"/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D0904C-02D3-9F69-4485-E4B0A8321707}"/>
              </a:ext>
            </a:extLst>
          </p:cNvPr>
          <p:cNvSpPr/>
          <p:nvPr/>
        </p:nvSpPr>
        <p:spPr>
          <a:xfrm>
            <a:off x="7679307" y="5344393"/>
            <a:ext cx="1340221" cy="94063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End </a:t>
            </a:r>
            <a:r>
              <a:rPr lang="de-DE" sz="1100" dirty="0" err="1"/>
              <a:t>user</a:t>
            </a:r>
            <a:br>
              <a:rPr lang="de-DE" sz="1100" dirty="0"/>
            </a:br>
            <a:r>
              <a:rPr lang="de-DE" sz="1100" dirty="0"/>
              <a:t>(Browser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38A514D-E009-E82F-659F-84E8541B4A2C}"/>
              </a:ext>
            </a:extLst>
          </p:cNvPr>
          <p:cNvCxnSpPr>
            <a:stCxn id="5" idx="2"/>
            <a:endCxn id="6" idx="0"/>
          </p:cNvCxnSpPr>
          <p:nvPr/>
        </p:nvCxnSpPr>
        <p:spPr>
          <a:xfrm>
            <a:off x="6537159" y="1132159"/>
            <a:ext cx="0" cy="8469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E94117-4D96-2C3F-8136-EF158B9FDA2A}"/>
              </a:ext>
            </a:extLst>
          </p:cNvPr>
          <p:cNvSpPr txBox="1"/>
          <p:nvPr/>
        </p:nvSpPr>
        <p:spPr>
          <a:xfrm>
            <a:off x="5746818" y="1297377"/>
            <a:ext cx="16717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 err="1"/>
              <a:t>openai</a:t>
            </a:r>
            <a:r>
              <a:rPr lang="de-DE" sz="1100" dirty="0"/>
              <a:t>/clip-vit-large-patch14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6E9DB9-B74E-F96C-B3AA-45B8357C0B86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233479" y="2449394"/>
            <a:ext cx="6335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D1C781D-3131-78FD-837B-B9D109696F20}"/>
              </a:ext>
            </a:extLst>
          </p:cNvPr>
          <p:cNvSpPr txBox="1"/>
          <p:nvPr/>
        </p:nvSpPr>
        <p:spPr>
          <a:xfrm>
            <a:off x="5237225" y="2225235"/>
            <a:ext cx="5918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Pic, </a:t>
            </a:r>
            <a:r>
              <a:rPr lang="de-DE" sz="1100" dirty="0" err="1"/>
              <a:t>Txt</a:t>
            </a:r>
            <a:endParaRPr lang="de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E226B4-9FCC-98B2-0AAB-C024B171AEC2}"/>
              </a:ext>
            </a:extLst>
          </p:cNvPr>
          <p:cNvSpPr txBox="1"/>
          <p:nvPr/>
        </p:nvSpPr>
        <p:spPr>
          <a:xfrm>
            <a:off x="5194720" y="2555836"/>
            <a:ext cx="7328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Classification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0541E77-2F01-3374-B15A-EF037B27403F}"/>
              </a:ext>
            </a:extLst>
          </p:cNvPr>
          <p:cNvCxnSpPr>
            <a:cxnSpLocks/>
          </p:cNvCxnSpPr>
          <p:nvPr/>
        </p:nvCxnSpPr>
        <p:spPr>
          <a:xfrm flipH="1" flipV="1">
            <a:off x="5233479" y="2572472"/>
            <a:ext cx="6335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7F0B650-C86A-D388-9E04-5452AB8B3A88}"/>
              </a:ext>
            </a:extLst>
          </p:cNvPr>
          <p:cNvCxnSpPr>
            <a:cxnSpLocks/>
            <a:stCxn id="46" idx="0"/>
            <a:endCxn id="35" idx="2"/>
          </p:cNvCxnSpPr>
          <p:nvPr/>
        </p:nvCxnSpPr>
        <p:spPr>
          <a:xfrm flipV="1">
            <a:off x="4727412" y="4522838"/>
            <a:ext cx="0" cy="8641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A47D44AF-395B-6D9A-74E0-0CE7CD5AFDDA}"/>
              </a:ext>
            </a:extLst>
          </p:cNvPr>
          <p:cNvSpPr/>
          <p:nvPr/>
        </p:nvSpPr>
        <p:spPr>
          <a:xfrm>
            <a:off x="3893258" y="191529"/>
            <a:ext cx="1340221" cy="9406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/>
              <a:t>Example</a:t>
            </a:r>
            <a:r>
              <a:rPr lang="de-DE" sz="1100" dirty="0"/>
              <a:t> Images</a:t>
            </a:r>
            <a:br>
              <a:rPr lang="de-DE" sz="1100" dirty="0"/>
            </a:br>
            <a:r>
              <a:rPr lang="de-DE" sz="1100" dirty="0"/>
              <a:t>(e.g. </a:t>
            </a:r>
            <a:r>
              <a:rPr lang="de-DE" sz="1100" dirty="0" err="1"/>
              <a:t>Huggingface</a:t>
            </a:r>
            <a:r>
              <a:rPr lang="de-DE" sz="1100" dirty="0"/>
              <a:t>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E7E6258-AE47-DFA2-80B9-DFA7B0C6DD5A}"/>
              </a:ext>
            </a:extLst>
          </p:cNvPr>
          <p:cNvCxnSpPr/>
          <p:nvPr/>
        </p:nvCxnSpPr>
        <p:spPr>
          <a:xfrm>
            <a:off x="4563369" y="1132159"/>
            <a:ext cx="0" cy="8469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A8835018-569D-C58A-1BED-8EAA8099C655}"/>
              </a:ext>
            </a:extLst>
          </p:cNvPr>
          <p:cNvSpPr/>
          <p:nvPr/>
        </p:nvSpPr>
        <p:spPr>
          <a:xfrm>
            <a:off x="3941098" y="3506028"/>
            <a:ext cx="1572628" cy="101681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okal in Docker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7699A29-C693-A672-387F-BB50CF6118DC}"/>
              </a:ext>
            </a:extLst>
          </p:cNvPr>
          <p:cNvSpPr/>
          <p:nvPr/>
        </p:nvSpPr>
        <p:spPr>
          <a:xfrm>
            <a:off x="5634642" y="3506029"/>
            <a:ext cx="1572628" cy="10168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Sources in GitHub</a:t>
            </a:r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05F0834D-8A35-AEBC-861A-DCD16D959AD6}"/>
              </a:ext>
            </a:extLst>
          </p:cNvPr>
          <p:cNvSpPr/>
          <p:nvPr/>
        </p:nvSpPr>
        <p:spPr>
          <a:xfrm>
            <a:off x="4629003" y="3206748"/>
            <a:ext cx="196818" cy="239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798EB3E-CD20-BC3E-59F8-7488AB578BDE}"/>
              </a:ext>
            </a:extLst>
          </p:cNvPr>
          <p:cNvSpPr/>
          <p:nvPr/>
        </p:nvSpPr>
        <p:spPr>
          <a:xfrm>
            <a:off x="7563103" y="3506028"/>
            <a:ext cx="1572628" cy="10168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/>
              <a:t>Deployed</a:t>
            </a:r>
            <a:r>
              <a:rPr lang="de-DE" sz="1100" dirty="0"/>
              <a:t> </a:t>
            </a:r>
            <a:r>
              <a:rPr lang="de-DE" sz="1100" dirty="0" err="1"/>
              <a:t>service</a:t>
            </a:r>
            <a:br>
              <a:rPr lang="de-DE" sz="1100" dirty="0"/>
            </a:br>
            <a:r>
              <a:rPr lang="de-DE" sz="1100" dirty="0"/>
              <a:t>in Azure</a:t>
            </a:r>
          </a:p>
        </p:txBody>
      </p:sp>
      <p:sp>
        <p:nvSpPr>
          <p:cNvPr id="39" name="Arrow: Down 38">
            <a:extLst>
              <a:ext uri="{FF2B5EF4-FFF2-40B4-BE49-F238E27FC236}">
                <a16:creationId xmlns:a16="http://schemas.microsoft.com/office/drawing/2014/main" id="{F0110C44-D4F2-8925-FCF9-0565ADD533CE}"/>
              </a:ext>
            </a:extLst>
          </p:cNvPr>
          <p:cNvSpPr/>
          <p:nvPr/>
        </p:nvSpPr>
        <p:spPr>
          <a:xfrm>
            <a:off x="6322547" y="3170780"/>
            <a:ext cx="196818" cy="239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8B1DEDD9-DB4D-9C79-ACD0-FFD2C5FCF8E9}"/>
              </a:ext>
            </a:extLst>
          </p:cNvPr>
          <p:cNvSpPr/>
          <p:nvPr/>
        </p:nvSpPr>
        <p:spPr>
          <a:xfrm rot="16200000">
            <a:off x="7286777" y="3894808"/>
            <a:ext cx="196818" cy="239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ED1236A-E4AE-0CB1-51D0-643C2E768123}"/>
              </a:ext>
            </a:extLst>
          </p:cNvPr>
          <p:cNvSpPr/>
          <p:nvPr/>
        </p:nvSpPr>
        <p:spPr>
          <a:xfrm>
            <a:off x="4057302" y="5386992"/>
            <a:ext cx="1340221" cy="9406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/>
              <a:t>Devloper</a:t>
            </a:r>
            <a:br>
              <a:rPr lang="de-DE" sz="1100" dirty="0"/>
            </a:br>
            <a:r>
              <a:rPr lang="de-DE" sz="1100" dirty="0"/>
              <a:t>(Browser)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4259F6E-58A6-93BA-9A25-55F385D1570E}"/>
              </a:ext>
            </a:extLst>
          </p:cNvPr>
          <p:cNvCxnSpPr>
            <a:cxnSpLocks/>
          </p:cNvCxnSpPr>
          <p:nvPr/>
        </p:nvCxnSpPr>
        <p:spPr>
          <a:xfrm flipV="1">
            <a:off x="8349417" y="4522838"/>
            <a:ext cx="0" cy="8641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0F70F0D2-4120-491A-AB3E-0F59A91E315E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3321050" y="2449395"/>
            <a:ext cx="5722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093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igl-Pollack, Andreas</dc:creator>
  <cp:lastModifiedBy>Weigl-Pollack, Andreas</cp:lastModifiedBy>
  <cp:revision>1</cp:revision>
  <dcterms:created xsi:type="dcterms:W3CDTF">2023-01-14T18:53:43Z</dcterms:created>
  <dcterms:modified xsi:type="dcterms:W3CDTF">2023-01-14T19:55:02Z</dcterms:modified>
</cp:coreProperties>
</file>